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521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07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8EB77-2883-4F01-91B3-3B29107FDD64}" v="2" dt="2026-02-11T15:08:57.5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6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31" y="86"/>
      </p:cViewPr>
      <p:guideLst>
        <p:guide orient="horz" pos="3838"/>
        <p:guide pos="937"/>
        <p:guide pos="6743"/>
        <p:guide orient="horz" pos="1185"/>
        <p:guide pos="7333"/>
        <p:guide orient="horz" pos="3521"/>
        <p:guide orient="horz" pos="640"/>
        <p:guide pos="1232"/>
        <p:guide orient="horz" pos="3770"/>
        <p:guide orient="horz" pos="1412"/>
        <p:guide pos="2252"/>
        <p:guide pos="4974"/>
        <p:guide orient="horz" pos="3407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custSel modSld">
      <pc:chgData name="Weigel Stefan (PAR-EPS)" userId="fd3b2067-2981-4ad8-bf3a-d2e1004e4fa8" providerId="ADAL" clId="{A4CFA2F4-FF8D-446B-B271-6DF568DBEADA}" dt="2026-02-11T15:38:38.107" v="103" actId="207"/>
      <pc:docMkLst>
        <pc:docMk/>
      </pc:docMkLst>
      <pc:sldChg chg="addSp delSp modSp mod">
        <pc:chgData name="Weigel Stefan (PAR-EPS)" userId="fd3b2067-2981-4ad8-bf3a-d2e1004e4fa8" providerId="ADAL" clId="{A4CFA2F4-FF8D-446B-B271-6DF568DBEADA}" dt="2026-02-11T15:38:38.107" v="103" actId="207"/>
        <pc:sldMkLst>
          <pc:docMk/>
          <pc:sldMk cId="2624746743" sldId="403"/>
        </pc:sldMkLst>
        <pc:spChg chg="mod">
          <ac:chgData name="Weigel Stefan (PAR-EPS)" userId="fd3b2067-2981-4ad8-bf3a-d2e1004e4fa8" providerId="ADAL" clId="{A4CFA2F4-FF8D-446B-B271-6DF568DBEADA}" dt="2026-02-11T15:09:30.158" v="46" actId="20577"/>
          <ac:spMkLst>
            <pc:docMk/>
            <pc:sldMk cId="2624746743" sldId="403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A4CFA2F4-FF8D-446B-B271-6DF568DBEADA}" dt="2026-02-11T15:08:44.779" v="42" actId="478"/>
          <ac:spMkLst>
            <pc:docMk/>
            <pc:sldMk cId="2624746743" sldId="403"/>
            <ac:spMk id="5" creationId="{8A28AF05-31DF-CF40-7AD3-AD898E36844D}"/>
          </ac:spMkLst>
        </pc:spChg>
        <pc:spChg chg="del mod">
          <ac:chgData name="Weigel Stefan (PAR-EPS)" userId="fd3b2067-2981-4ad8-bf3a-d2e1004e4fa8" providerId="ADAL" clId="{A4CFA2F4-FF8D-446B-B271-6DF568DBEADA}" dt="2026-02-11T15:10:43.255" v="56" actId="478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A4CFA2F4-FF8D-446B-B271-6DF568DBEADA}" dt="2026-02-11T15:32:29.153" v="91" actId="1035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4CFA2F4-FF8D-446B-B271-6DF568DBEADA}" dt="2026-02-11T15:15:16.290" v="89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4CFA2F4-FF8D-446B-B271-6DF568DBEADA}" dt="2026-02-11T15:38:38.107" v="103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7</c:f>
              <c:strCache>
                <c:ptCount val="5"/>
                <c:pt idx="0">
                  <c:v>Produktion 16,7 Hz</c:v>
                </c:pt>
                <c:pt idx="1">
                  <c:v>Bezug 16,7 Hz</c:v>
                </c:pt>
                <c:pt idx="2">
                  <c:v>Produktion 50 Hz</c:v>
                </c:pt>
                <c:pt idx="3">
                  <c:v>Bezug 50 Hz</c:v>
                </c:pt>
                <c:pt idx="4">
                  <c:v>Marktkauf und Austauschbezug in Nettosicht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1793.703</c:v>
                </c:pt>
                <c:pt idx="1">
                  <c:v>122.61499999999999</c:v>
                </c:pt>
                <c:pt idx="2">
                  <c:v>97.3</c:v>
                </c:pt>
                <c:pt idx="3">
                  <c:v>719.12300000000005</c:v>
                </c:pt>
                <c:pt idx="4">
                  <c:v>56.854999999999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2041781393297334"/>
          <c:y val="0.75801932818606144"/>
          <c:w val="0.78068520787811857"/>
          <c:h val="0.24198067181393851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6</c:f>
              <c:strCache>
                <c:ptCount val="4"/>
                <c:pt idx="0">
                  <c:v>Bahnbetrieb SBB</c:v>
                </c:pt>
                <c:pt idx="1">
                  <c:v>Bahnbetrieb andere</c:v>
                </c:pt>
                <c:pt idx="2">
                  <c:v>Eigenverbrauch und Verluste</c:v>
                </c:pt>
                <c:pt idx="3">
                  <c:v>Pumpenbetrieb</c:v>
                </c:pt>
              </c:strCache>
            </c:strRef>
          </c:cat>
          <c:val>
            <c:numRef>
              <c:f>data!$G$3:$G$6</c:f>
              <c:numCache>
                <c:formatCode>0.0</c:formatCode>
                <c:ptCount val="4"/>
                <c:pt idx="0">
                  <c:v>2061.5340000000001</c:v>
                </c:pt>
                <c:pt idx="1">
                  <c:v>265.62799999999999</c:v>
                </c:pt>
                <c:pt idx="2">
                  <c:v>156.31100000000001</c:v>
                </c:pt>
                <c:pt idx="3">
                  <c:v>179.94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72221040485023724"/>
          <c:w val="0.563584481199919"/>
          <c:h val="0.18913668312847048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lektrische Energie für den Bahnbetrieb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88068949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291369513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Herkunft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Verwendung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70058" y="5399132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8847561-0CE6-407E-B2DD-66376DC90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ktrische Energie für den Bahnbetrieb im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4.</dc:title>
  <dc:creator>Meyer Raphael (KOM-PGA-VSF)</dc:creator>
  <cp:lastModifiedBy>Weigel Stefan (PAR-EPS)</cp:lastModifiedBy>
  <cp:revision>59</cp:revision>
  <cp:lastPrinted>2024-02-16T09:19:57Z</cp:lastPrinted>
  <dcterms:created xsi:type="dcterms:W3CDTF">2020-09-30T11:00:09Z</dcterms:created>
  <dcterms:modified xsi:type="dcterms:W3CDTF">2026-03-03T13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